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sldIdLst>
    <p:sldId id="267" r:id="rId2"/>
    <p:sldId id="269" r:id="rId3"/>
    <p:sldId id="270" r:id="rId4"/>
    <p:sldId id="271" r:id="rId5"/>
    <p:sldId id="283" r:id="rId6"/>
    <p:sldId id="319" r:id="rId7"/>
    <p:sldId id="272" r:id="rId8"/>
    <p:sldId id="285" r:id="rId9"/>
    <p:sldId id="273" r:id="rId10"/>
    <p:sldId id="318" r:id="rId11"/>
    <p:sldId id="316" r:id="rId1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2DDE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1539" autoAdjust="0"/>
  </p:normalViewPr>
  <p:slideViewPr>
    <p:cSldViewPr snapToGrid="0">
      <p:cViewPr varScale="1">
        <p:scale>
          <a:sx n="104" d="100"/>
          <a:sy n="104" d="100"/>
        </p:scale>
        <p:origin x="41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C4FE6B-ACE2-45F5-8B09-0A230D11F74C}" type="datetimeFigureOut">
              <a:rPr lang="de-DE" smtClean="0"/>
              <a:t>22.06.20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D215B1-5AE8-449F-8BBB-AF3B75A2FE2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79756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lso </a:t>
            </a:r>
            <a:r>
              <a:rPr lang="de-DE" dirty="0" err="1"/>
              <a:t>talks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Network </a:t>
            </a:r>
            <a:r>
              <a:rPr lang="de-DE" dirty="0" err="1"/>
              <a:t>slicing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14689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4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4.png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73B3FD87-3BE4-47E1-31CE-572A0523AE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85774 w 12192000"/>
              <a:gd name="connsiteY0" fmla="*/ 1504949 h 6858000"/>
              <a:gd name="connsiteX1" fmla="*/ 485774 w 12192000"/>
              <a:gd name="connsiteY1" fmla="*/ 1957174 h 6858000"/>
              <a:gd name="connsiteX2" fmla="*/ 3005774 w 12192000"/>
              <a:gd name="connsiteY2" fmla="*/ 1957174 h 6858000"/>
              <a:gd name="connsiteX3" fmla="*/ 3005774 w 12192000"/>
              <a:gd name="connsiteY3" fmla="*/ 1504949 h 6858000"/>
              <a:gd name="connsiteX4" fmla="*/ 481947 w 12192000"/>
              <a:gd name="connsiteY4" fmla="*/ 485775 h 6858000"/>
              <a:gd name="connsiteX5" fmla="*/ 481947 w 12192000"/>
              <a:gd name="connsiteY5" fmla="*/ 1401033 h 6858000"/>
              <a:gd name="connsiteX6" fmla="*/ 3001947 w 12192000"/>
              <a:gd name="connsiteY6" fmla="*/ 1401033 h 6858000"/>
              <a:gd name="connsiteX7" fmla="*/ 3001947 w 12192000"/>
              <a:gd name="connsiteY7" fmla="*/ 485775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80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14" name="ipt_rgb_modul_send_de">
            <a:extLst>
              <a:ext uri="{FF2B5EF4-FFF2-40B4-BE49-F238E27FC236}">
                <a16:creationId xmlns:a16="http://schemas.microsoft.com/office/drawing/2014/main" id="{008DD45B-2F66-8590-7385-CCE57B3A16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6" name="ipt_rgb_modul_send_de">
            <a:extLst>
              <a:ext uri="{FF2B5EF4-FFF2-40B4-BE49-F238E27FC236}">
                <a16:creationId xmlns:a16="http://schemas.microsoft.com/office/drawing/2014/main" id="{843119EE-4D42-6126-3BEA-78FA1E6979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5636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86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81800" cy="445293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432A0-F513-4930-BCD5-B4BD00DAAEF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6BCA922-E6D6-4853-BE81-53B0DD11C95A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28DD29-2A8B-4A4D-A7BC-8DCCFF5043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0E97B0-79E4-4EE2-931A-53B30FA4703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406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48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75705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100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Headline, </a:t>
            </a:r>
            <a:r>
              <a:rPr lang="de-DE"/>
              <a:t>Frutiger Bd </a:t>
            </a:r>
            <a:r>
              <a:rPr lang="de-DE" dirty="0"/>
              <a:t>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Lt </a:t>
            </a:r>
            <a:r>
              <a:rPr lang="de-DE" dirty="0"/>
              <a:t>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9C7DF2-26E3-41FC-BBA4-D04F3C8A789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98B6779-D470-418B-A2F6-ADB72D8AC99A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2DDE9E-9713-44C6-8C76-61BAF975C2F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6C6CE5-B69A-4AFB-BE84-FD1E0C2922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4467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355B916-F5BD-44FA-A46A-0DDC6C436E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78"/>
          <a:stretch/>
        </p:blipFill>
        <p:spPr>
          <a:xfrm>
            <a:off x="1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FF24F4D-C744-4C72-8C3B-7AA8FCE186FB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B0E546C-CA1A-4085-B98B-53E34E1FDA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26209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1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6B89D7C3-6348-44ED-84FD-9C88687DD0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10278"/>
          <a:stretch/>
        </p:blipFill>
        <p:spPr>
          <a:xfrm>
            <a:off x="0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D065BA7-85F8-4EE9-B742-24693D51D89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4823FE6-EF28-4DD6-8EAF-6393554C2F9B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3A42444-18F6-4DEB-8F09-69EB8CDC5A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9E246-7B08-4017-9C02-690D308761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82280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2B98C0-CD3B-4858-9EBF-1ABA8A5F48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1A2DA5F-35A5-485A-830E-590B0FBCEAFB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A9339C1-56D0-4552-B568-77AAE6F881E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8209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C97856-E56E-4A7B-9E6B-645BE57712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DBFCB38-B327-453F-9454-75FB517D41D3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167E4E3-ED26-4131-9FAE-8897857FA6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AB7EBF-0F2E-4271-97C4-6F0AE76E65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7676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12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DA72C-07CE-4657-8099-B172E870DCF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6E1B93-E3F9-4401-B9B5-D218F6FA43E0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ED38EC9-DDD7-4F50-82AB-C2270DB3077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64EA96-4C0A-4998-B81C-3BACDCEA4A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8426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00F5E9B-0DA3-4924-820C-42C4A6ADA0E5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BDEA1B9-B24B-4D57-B058-B115ADC06D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4079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7881D91-0AE1-418E-8DDE-B30114E938EE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A69639-E1C4-4FDB-A492-46962B10A51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2192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580799-6CA8-4E79-B6A8-7CEC7DE6B3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2EB70F-A68D-4022-9A90-1BD9E1F24CD0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FD07C3-3AC8-443B-9A9C-69C1442938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35044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BA6D9D7-6F89-F152-ED2B-EA1AC68AE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BA0086AB-07D6-B8A6-0226-F0C5B169B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10" name="ipt_rgb_modul_send_de">
            <a:extLst>
              <a:ext uri="{FF2B5EF4-FFF2-40B4-BE49-F238E27FC236}">
                <a16:creationId xmlns:a16="http://schemas.microsoft.com/office/drawing/2014/main" id="{13613186-AF6E-C880-F818-53FC6E7C0E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5905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EAE544-C4AF-42DB-BAE7-B441396FF2CB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9EBAA3-4CD5-4D80-A5ED-62A7BAE0A9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1759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DB3F52-3132-4FCE-9245-400432785EC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A1603BC-959D-498A-AFB1-A4098BEE234D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F7D269B-861C-4C29-9AA1-AC9F6193EF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478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AF5665FF-FC6A-41CB-A579-FD12C9A123FB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750D2F-7AC5-4879-8C19-DDC98EDCDE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793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934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3744">
                <a:srgbClr val="00779A">
                  <a:lumMod val="100000"/>
                </a:srgbClr>
              </a:gs>
              <a:gs pos="0">
                <a:srgbClr val="014A6B"/>
              </a:gs>
              <a:gs pos="75000">
                <a:srgbClr val="4DC7D2">
                  <a:lumMod val="90000"/>
                  <a:lumOff val="10000"/>
                </a:srgbClr>
              </a:gs>
              <a:gs pos="100000">
                <a:srgbClr val="04B1AA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695CE19-2635-48CD-86C5-A6711E8F240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54C5216-E07E-410D-A429-83EADA43FDAE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987410-0067-43D6-9FB8-E4A3CFE662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B4A690-2DD5-436A-A09D-218E639343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1984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43060F8-5D20-497E-9AAB-512DDB8C88FF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3B70818-BA9A-4A9E-BB42-894CD16E6F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33397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82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8D4B216-A5F7-4214-889D-75DD098CB8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09"/>
          <a:stretch/>
        </p:blipFill>
        <p:spPr>
          <a:xfrm>
            <a:off x="1" y="-4763"/>
            <a:ext cx="12192000" cy="6157913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47DF70-C076-4A26-9F94-6FA1181DF1F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292229-9EF2-4BE6-8732-2CC7993750B5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784F8B-F977-42FC-A651-A02A01C602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60083F-34CE-4BF0-AB01-7CCA0176F2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75690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F093205C-381E-B23F-7CED-97C6BAF8C7F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00CF2F51-E108-3DCF-5A98-B8EEA06CC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F495169C-66A1-C664-5345-492879864D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3660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03CE0E6-D2CB-8F7D-2D73-1B892D53D2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4572000"/>
          </a:xfrm>
          <a:custGeom>
            <a:avLst/>
            <a:gdLst>
              <a:gd name="connsiteX0" fmla="*/ 9192575 w 12192000"/>
              <a:gd name="connsiteY0" fmla="*/ 1492250 h 4572000"/>
              <a:gd name="connsiteX1" fmla="*/ 9192575 w 12192000"/>
              <a:gd name="connsiteY1" fmla="*/ 1947650 h 4572000"/>
              <a:gd name="connsiteX2" fmla="*/ 11712575 w 12192000"/>
              <a:gd name="connsiteY2" fmla="*/ 1947650 h 4572000"/>
              <a:gd name="connsiteX3" fmla="*/ 11712575 w 12192000"/>
              <a:gd name="connsiteY3" fmla="*/ 1492250 h 4572000"/>
              <a:gd name="connsiteX4" fmla="*/ 9192575 w 12192000"/>
              <a:gd name="connsiteY4" fmla="*/ 476250 h 4572000"/>
              <a:gd name="connsiteX5" fmla="*/ 9192575 w 12192000"/>
              <a:gd name="connsiteY5" fmla="*/ 1392238 h 4572000"/>
              <a:gd name="connsiteX6" fmla="*/ 11712575 w 12192000"/>
              <a:gd name="connsiteY6" fmla="*/ 1392238 h 4572000"/>
              <a:gd name="connsiteX7" fmla="*/ 11712575 w 12192000"/>
              <a:gd name="connsiteY7" fmla="*/ 476250 h 4572000"/>
              <a:gd name="connsiteX8" fmla="*/ 0 w 12192000"/>
              <a:gd name="connsiteY8" fmla="*/ 0 h 4572000"/>
              <a:gd name="connsiteX9" fmla="*/ 12192000 w 12192000"/>
              <a:gd name="connsiteY9" fmla="*/ 0 h 4572000"/>
              <a:gd name="connsiteX10" fmla="*/ 12192000 w 12192000"/>
              <a:gd name="connsiteY10" fmla="*/ 4572000 h 4572000"/>
              <a:gd name="connsiteX11" fmla="*/ 0 w 12192000"/>
              <a:gd name="connsiteY11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4572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F45E2172-884D-91C9-EBCA-4F9CC1E447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DE03A2CC-C2EB-7737-527F-27CE217052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0354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233E68D-B08D-4763-8344-83249244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/>
              <a:t>Straße XY</a:t>
            </a:r>
            <a:endParaRPr lang="pt-BR" dirty="0"/>
          </a:p>
          <a:p>
            <a:pPr lvl="3"/>
            <a:r>
              <a:rPr lang="pt-BR"/>
              <a:t>12345 Stadt</a:t>
            </a:r>
            <a:endParaRPr lang="pt-BR" dirty="0"/>
          </a:p>
          <a:p>
            <a:pPr lvl="3"/>
            <a:r>
              <a:rPr lang="pt-BR" dirty="0"/>
              <a:t>www.fraunhofer.de</a:t>
            </a:r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35BE6470-9C7A-097F-C1C2-97EA2CE43E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283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9F17E90D-0C11-4C1A-9AB0-99DFB3D05F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Vielen Dank für Ihre Aufmerksamkeit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AB77215F-59DD-021C-E6F2-2BE17AE05A1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692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A4280D6-A5BE-D0CE-7123-4985CFCB27C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85774 w 12192000"/>
              <a:gd name="connsiteY0" fmla="*/ 1504949 h 6858000"/>
              <a:gd name="connsiteX1" fmla="*/ 485774 w 12192000"/>
              <a:gd name="connsiteY1" fmla="*/ 1957174 h 6858000"/>
              <a:gd name="connsiteX2" fmla="*/ 3005774 w 12192000"/>
              <a:gd name="connsiteY2" fmla="*/ 1957174 h 6858000"/>
              <a:gd name="connsiteX3" fmla="*/ 3005774 w 12192000"/>
              <a:gd name="connsiteY3" fmla="*/ 1504949 h 6858000"/>
              <a:gd name="connsiteX4" fmla="*/ 481947 w 12192000"/>
              <a:gd name="connsiteY4" fmla="*/ 485775 h 6858000"/>
              <a:gd name="connsiteX5" fmla="*/ 481947 w 12192000"/>
              <a:gd name="connsiteY5" fmla="*/ 1401033 h 6858000"/>
              <a:gd name="connsiteX6" fmla="*/ 3001947 w 12192000"/>
              <a:gd name="connsiteY6" fmla="*/ 1401033 h 6858000"/>
              <a:gd name="connsiteX7" fmla="*/ 3001947 w 12192000"/>
              <a:gd name="connsiteY7" fmla="*/ 485775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340524"/>
            <a:ext cx="5916612" cy="264435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D48891FB-7DF3-434C-A89C-1C0F561E83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0" name="ipt_rgb_modul_send_de">
            <a:extLst>
              <a:ext uri="{FF2B5EF4-FFF2-40B4-BE49-F238E27FC236}">
                <a16:creationId xmlns:a16="http://schemas.microsoft.com/office/drawing/2014/main" id="{00CAD09F-6C9B-29D0-8334-9F518F3BC3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0992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F53347-D192-CF15-AF7C-A7B824B67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BB6D9D-D14F-6F0B-15CD-701D211BF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48ADBA-65A7-430F-9E95-38065201AF0F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234CAF-152F-3B97-818C-C4E6B2FFB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Fraunhofer IPT/WZL der RWTH Aach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DAD453-0B98-6149-61DC-D7F040937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1231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70E0995-97EA-17A3-E1FF-8B5B23CDF0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Referenten</a:t>
            </a:r>
            <a:endParaRPr lang="de-DE" dirty="0"/>
          </a:p>
        </p:txBody>
      </p:sp>
      <p:pic>
        <p:nvPicPr>
          <p:cNvPr id="8" name="ipt_rgb_modul_send_de">
            <a:extLst>
              <a:ext uri="{FF2B5EF4-FFF2-40B4-BE49-F238E27FC236}">
                <a16:creationId xmlns:a16="http://schemas.microsoft.com/office/drawing/2014/main" id="{BB57CBBB-642A-4B44-EDFC-D36A435EB3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29EED71F-2C5E-65E3-3FF9-8E8DDCE76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7391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4D52719-2CCA-3CA0-0966-7E8085137F4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4572000"/>
          </a:xfrm>
          <a:custGeom>
            <a:avLst/>
            <a:gdLst>
              <a:gd name="connsiteX0" fmla="*/ 9192575 w 12192000"/>
              <a:gd name="connsiteY0" fmla="*/ 1492250 h 4572000"/>
              <a:gd name="connsiteX1" fmla="*/ 9192575 w 12192000"/>
              <a:gd name="connsiteY1" fmla="*/ 1947650 h 4572000"/>
              <a:gd name="connsiteX2" fmla="*/ 11712575 w 12192000"/>
              <a:gd name="connsiteY2" fmla="*/ 1947650 h 4572000"/>
              <a:gd name="connsiteX3" fmla="*/ 11712575 w 12192000"/>
              <a:gd name="connsiteY3" fmla="*/ 1492250 h 4572000"/>
              <a:gd name="connsiteX4" fmla="*/ 9192575 w 12192000"/>
              <a:gd name="connsiteY4" fmla="*/ 476250 h 4572000"/>
              <a:gd name="connsiteX5" fmla="*/ 9192575 w 12192000"/>
              <a:gd name="connsiteY5" fmla="*/ 1392238 h 4572000"/>
              <a:gd name="connsiteX6" fmla="*/ 11712575 w 12192000"/>
              <a:gd name="connsiteY6" fmla="*/ 1392238 h 4572000"/>
              <a:gd name="connsiteX7" fmla="*/ 11712575 w 12192000"/>
              <a:gd name="connsiteY7" fmla="*/ 476250 h 4572000"/>
              <a:gd name="connsiteX8" fmla="*/ 0 w 12192000"/>
              <a:gd name="connsiteY8" fmla="*/ 0 h 4572000"/>
              <a:gd name="connsiteX9" fmla="*/ 12192000 w 12192000"/>
              <a:gd name="connsiteY9" fmla="*/ 0 h 4572000"/>
              <a:gd name="connsiteX10" fmla="*/ 12192000 w 12192000"/>
              <a:gd name="connsiteY10" fmla="*/ 4572000 h 4572000"/>
              <a:gd name="connsiteX11" fmla="*/ 0 w 12192000"/>
              <a:gd name="connsiteY11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4572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003515"/>
            <a:ext cx="7824783" cy="250238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8" name="ipt_rgb_modul_send_de">
            <a:extLst>
              <a:ext uri="{FF2B5EF4-FFF2-40B4-BE49-F238E27FC236}">
                <a16:creationId xmlns:a16="http://schemas.microsoft.com/office/drawing/2014/main" id="{DDF5A445-C742-DDE7-216E-0D205EAB38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9A0D0D7B-8053-34CD-7FF4-FEF34495AC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8491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951D26F3-DA5D-848E-BD64-E6BEC99083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3429000"/>
          </a:xfrm>
          <a:custGeom>
            <a:avLst/>
            <a:gdLst>
              <a:gd name="connsiteX0" fmla="*/ 9192575 w 12192000"/>
              <a:gd name="connsiteY0" fmla="*/ 1492250 h 3429000"/>
              <a:gd name="connsiteX1" fmla="*/ 9192575 w 12192000"/>
              <a:gd name="connsiteY1" fmla="*/ 1947650 h 3429000"/>
              <a:gd name="connsiteX2" fmla="*/ 11712575 w 12192000"/>
              <a:gd name="connsiteY2" fmla="*/ 1947650 h 3429000"/>
              <a:gd name="connsiteX3" fmla="*/ 11712575 w 12192000"/>
              <a:gd name="connsiteY3" fmla="*/ 1492250 h 3429000"/>
              <a:gd name="connsiteX4" fmla="*/ 9192575 w 12192000"/>
              <a:gd name="connsiteY4" fmla="*/ 476250 h 3429000"/>
              <a:gd name="connsiteX5" fmla="*/ 9192575 w 12192000"/>
              <a:gd name="connsiteY5" fmla="*/ 1392238 h 3429000"/>
              <a:gd name="connsiteX6" fmla="*/ 11712575 w 12192000"/>
              <a:gd name="connsiteY6" fmla="*/ 1392238 h 3429000"/>
              <a:gd name="connsiteX7" fmla="*/ 11712575 w 12192000"/>
              <a:gd name="connsiteY7" fmla="*/ 476250 h 3429000"/>
              <a:gd name="connsiteX8" fmla="*/ 0 w 12192000"/>
              <a:gd name="connsiteY8" fmla="*/ 0 h 3429000"/>
              <a:gd name="connsiteX9" fmla="*/ 12192000 w 12192000"/>
              <a:gd name="connsiteY9" fmla="*/ 0 h 3429000"/>
              <a:gd name="connsiteX10" fmla="*/ 12192000 w 12192000"/>
              <a:gd name="connsiteY10" fmla="*/ 3429000 h 3429000"/>
              <a:gd name="connsiteX11" fmla="*/ 0 w 12192000"/>
              <a:gd name="connsiteY11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429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6910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BF3246D3-445A-44F7-9456-5301421C8D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B18BE424-593F-A928-3BFA-54D19B2DC3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7369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CA74BF2-60AE-432D-B809-6CE549DEA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04BAA954-E144-938A-40A8-2E93110B5E6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8487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5745FC80-4C7B-CB74-55C2-061B4228585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2193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3C81C46-CC1D-1798-CF35-B24016A3A4F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153149"/>
          </a:xfrm>
          <a:custGeom>
            <a:avLst/>
            <a:gdLst>
              <a:gd name="connsiteX0" fmla="*/ 485774 w 12192000"/>
              <a:gd name="connsiteY0" fmla="*/ 1504949 h 6153149"/>
              <a:gd name="connsiteX1" fmla="*/ 485774 w 12192000"/>
              <a:gd name="connsiteY1" fmla="*/ 1957174 h 6153149"/>
              <a:gd name="connsiteX2" fmla="*/ 3005774 w 12192000"/>
              <a:gd name="connsiteY2" fmla="*/ 1957174 h 6153149"/>
              <a:gd name="connsiteX3" fmla="*/ 3005774 w 12192000"/>
              <a:gd name="connsiteY3" fmla="*/ 1504949 h 6153149"/>
              <a:gd name="connsiteX4" fmla="*/ 481947 w 12192000"/>
              <a:gd name="connsiteY4" fmla="*/ 485775 h 6153149"/>
              <a:gd name="connsiteX5" fmla="*/ 481947 w 12192000"/>
              <a:gd name="connsiteY5" fmla="*/ 1401033 h 6153149"/>
              <a:gd name="connsiteX6" fmla="*/ 3001947 w 12192000"/>
              <a:gd name="connsiteY6" fmla="*/ 1401033 h 6153149"/>
              <a:gd name="connsiteX7" fmla="*/ 3001947 w 12192000"/>
              <a:gd name="connsiteY7" fmla="*/ 485775 h 6153149"/>
              <a:gd name="connsiteX8" fmla="*/ 0 w 12192000"/>
              <a:gd name="connsiteY8" fmla="*/ 0 h 6153149"/>
              <a:gd name="connsiteX9" fmla="*/ 12192000 w 12192000"/>
              <a:gd name="connsiteY9" fmla="*/ 0 h 6153149"/>
              <a:gd name="connsiteX10" fmla="*/ 12192000 w 12192000"/>
              <a:gd name="connsiteY10" fmla="*/ 6153149 h 6153149"/>
              <a:gd name="connsiteX11" fmla="*/ 0 w 12192000"/>
              <a:gd name="connsiteY11" fmla="*/ 6153149 h 6153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153149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53149"/>
                </a:lnTo>
                <a:lnTo>
                  <a:pt x="0" y="6153149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BA1D15-0475-4B03-86A1-56C3D9C630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04E553-B0CF-417B-829A-CC6F4C4FE026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6ECF15-13D4-44C4-B713-BCD347A79F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DBA688-BE97-41EF-8F34-A1FF74ABCB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ipt_rgb_modul_send_de">
            <a:extLst>
              <a:ext uri="{FF2B5EF4-FFF2-40B4-BE49-F238E27FC236}">
                <a16:creationId xmlns:a16="http://schemas.microsoft.com/office/drawing/2014/main" id="{77EA7D2B-65DE-53D5-635C-2F52BF5FB2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4" name="ipt_rgb_modul_send_de">
            <a:extLst>
              <a:ext uri="{FF2B5EF4-FFF2-40B4-BE49-F238E27FC236}">
                <a16:creationId xmlns:a16="http://schemas.microsoft.com/office/drawing/2014/main" id="{2D1080A5-C474-BD4B-CA6E-1D78A0A361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397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FB997AFF-605B-4F8A-B4F7-626613F71041}" type="datetime1">
              <a:rPr lang="de-DE" noProof="0" smtClean="0"/>
              <a:t>22.06.2023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PT/WZL der RWTH Aachen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de-DE" sz="800" b="1">
                <a:latin typeface="+mj-lt"/>
              </a:rPr>
              <a:t> </a:t>
            </a:r>
            <a:endParaRPr lang="en-US" sz="800" b="1" dirty="0">
              <a:latin typeface="+mj-l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 userDrawn="1"/>
        </p:nvSpPr>
        <p:spPr>
          <a:xfrm>
            <a:off x="479425" y="6455836"/>
            <a:ext cx="2324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/>
              <a:t>Seite</a:t>
            </a:r>
            <a:endParaRPr lang="de-DE" sz="8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8F81563-C6CD-CBCA-7DE4-45CD8FC094B9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29" y="6336000"/>
            <a:ext cx="1746394" cy="24345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E461CCF-1FEC-EA46-8A87-09F35048752A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2800" y="6336000"/>
            <a:ext cx="1404000" cy="387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334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  <p15:guide id="9" orient="horz" pos="38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1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40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41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2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3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4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6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7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8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9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B23A4EC-E6FD-4AAF-90B4-44785B1F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B23A4EC-E6FD-4AAF-90B4-44785B1F1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9A6212-948B-4F5F-9BEF-32E508328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198" y="1999174"/>
            <a:ext cx="7418002" cy="3256982"/>
          </a:xfrm>
        </p:spPr>
        <p:txBody>
          <a:bodyPr/>
          <a:lstStyle/>
          <a:p>
            <a:pPr lvl="0"/>
            <a:r>
              <a:rPr lang="de-DE" dirty="0"/>
              <a:t>Luiza Souza Sim</a:t>
            </a:r>
            <a:r>
              <a:rPr lang="pt-BR" dirty="0"/>
              <a:t>ões</a:t>
            </a:r>
            <a:endParaRPr lang="de-DE" dirty="0"/>
          </a:p>
          <a:p>
            <a:pPr lvl="1"/>
            <a:r>
              <a:rPr lang="de-DE" dirty="0"/>
              <a:t>—</a:t>
            </a:r>
            <a:endParaRPr lang="de-DE" sz="1000" dirty="0"/>
          </a:p>
          <a:p>
            <a:pPr lvl="2"/>
            <a:r>
              <a:rPr lang="en-US" b="0" i="0" dirty="0">
                <a:effectLst/>
                <a:latin typeface="Arial" panose="020B0604020202020204" pitchFamily="34" charset="0"/>
              </a:rPr>
              <a:t>Validation of remote-control use cases for construction and mining robots via 5G</a:t>
            </a:r>
          </a:p>
          <a:p>
            <a:pPr lvl="0"/>
            <a:endParaRPr lang="de-DE" dirty="0"/>
          </a:p>
          <a:p>
            <a:pPr lvl="1">
              <a:lnSpc>
                <a:spcPct val="100000"/>
              </a:lnSpc>
            </a:pPr>
            <a:r>
              <a:rPr lang="de-DE" dirty="0"/>
              <a:t>—</a:t>
            </a:r>
            <a:endParaRPr lang="en-US" b="0" i="0" dirty="0">
              <a:effectLst/>
              <a:latin typeface="Arial" panose="020B0604020202020204" pitchFamily="34" charset="0"/>
            </a:endParaRPr>
          </a:p>
          <a:p>
            <a:pPr lvl="0"/>
            <a:r>
              <a:rPr lang="pt-BR" dirty="0"/>
              <a:t>Supervisor: Profa. Dra. Ana Isabela Araújo Cunha </a:t>
            </a:r>
          </a:p>
          <a:p>
            <a:pPr lvl="0"/>
            <a:r>
              <a:rPr lang="pt-BR" dirty="0"/>
              <a:t>Co-supervisor: M.Sc. Sarah Schmitt</a:t>
            </a:r>
            <a:endParaRPr lang="de-DE" dirty="0"/>
          </a:p>
        </p:txBody>
      </p:sp>
      <p:pic>
        <p:nvPicPr>
          <p:cNvPr id="1028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49C018AA-3F73-A5CC-D80D-270CE8643E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3EF973B9-5044-D489-6046-1E4C01A4A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0821DFC-4541-4D25-86CF-D9F84368A25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415808" y="6455836"/>
            <a:ext cx="29520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© Fraunhofer IPT/WZL der RWTH Aachen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99C68073-2F03-185F-E2A2-AE5C6FA4B2BC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759206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2">
            <a:extLst>
              <a:ext uri="{FF2B5EF4-FFF2-40B4-BE49-F238E27FC236}">
                <a16:creationId xmlns:a16="http://schemas.microsoft.com/office/drawing/2014/main" id="{1C0E5993-181F-9186-47CA-C8B0B71007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2950054"/>
            <a:ext cx="11233149" cy="957891"/>
          </a:xfrm>
        </p:spPr>
        <p:txBody>
          <a:bodyPr/>
          <a:lstStyle/>
          <a:p>
            <a:pPr algn="ctr"/>
            <a:r>
              <a:rPr lang="de-DE" sz="6000" dirty="0" err="1"/>
              <a:t>Obrigada</a:t>
            </a:r>
            <a:r>
              <a:rPr lang="de-DE" sz="6000" dirty="0"/>
              <a:t> · </a:t>
            </a:r>
            <a:r>
              <a:rPr lang="de-DE" sz="6000" dirty="0" err="1"/>
              <a:t>Thank</a:t>
            </a:r>
            <a:r>
              <a:rPr lang="de-DE" sz="6000" dirty="0"/>
              <a:t> </a:t>
            </a:r>
            <a:r>
              <a:rPr lang="de-DE" sz="6000" dirty="0" err="1"/>
              <a:t>you</a:t>
            </a:r>
            <a:r>
              <a:rPr lang="de-DE" sz="6000" dirty="0"/>
              <a:t> · Dank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D0FDD1-727D-99E8-180C-4BB9B0A39957}"/>
              </a:ext>
            </a:extLst>
          </p:cNvPr>
          <p:cNvSpPr/>
          <p:nvPr/>
        </p:nvSpPr>
        <p:spPr>
          <a:xfrm>
            <a:off x="9189527" y="5494129"/>
            <a:ext cx="2523047" cy="91857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8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C0184659-E82E-3EA8-5ED2-F743E3DFA8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10220361" y="5560391"/>
            <a:ext cx="1207549" cy="843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LOGO UFBA | Brands of the World™ | Download vector logos and logotypes">
            <a:extLst>
              <a:ext uri="{FF2B5EF4-FFF2-40B4-BE49-F238E27FC236}">
                <a16:creationId xmlns:a16="http://schemas.microsoft.com/office/drawing/2014/main" id="{67BA9A17-1E7F-DF32-AFF3-A1ADF8B848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562" y="5605950"/>
            <a:ext cx="694936" cy="694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683062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D6B3D6-26AD-4771-7BE9-00DB5F2481EF}"/>
              </a:ext>
            </a:extLst>
          </p:cNvPr>
          <p:cNvSpPr/>
          <p:nvPr/>
        </p:nvSpPr>
        <p:spPr>
          <a:xfrm>
            <a:off x="9189528" y="5494129"/>
            <a:ext cx="2523047" cy="91857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1700213"/>
            <a:ext cx="5916612" cy="3602909"/>
          </a:xfrm>
        </p:spPr>
        <p:txBody>
          <a:bodyPr/>
          <a:lstStyle/>
          <a:p>
            <a:r>
              <a:rPr lang="de-DE" dirty="0"/>
              <a:t>Contact </a:t>
            </a:r>
            <a:r>
              <a:rPr lang="de-DE" dirty="0" err="1"/>
              <a:t>information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Luiza Souza </a:t>
            </a:r>
            <a:r>
              <a:rPr lang="de-DE" dirty="0" err="1"/>
              <a:t>Simões</a:t>
            </a:r>
            <a:endParaRPr lang="de-DE" dirty="0"/>
          </a:p>
          <a:p>
            <a:pPr lvl="2"/>
            <a:endParaRPr lang="de-DE" sz="600" dirty="0"/>
          </a:p>
          <a:p>
            <a:pPr lvl="2"/>
            <a:r>
              <a:rPr lang="de-DE" dirty="0"/>
              <a:t>Tel. +49 1575 3510058</a:t>
            </a:r>
          </a:p>
          <a:p>
            <a:pPr lvl="2"/>
            <a:r>
              <a:rPr lang="de-DE" dirty="0"/>
              <a:t>Tel. +55 71 981814845</a:t>
            </a:r>
          </a:p>
          <a:p>
            <a:pPr lvl="2"/>
            <a:endParaRPr lang="de-DE" sz="100" dirty="0"/>
          </a:p>
          <a:p>
            <a:pPr lvl="2"/>
            <a:r>
              <a:rPr lang="de-DE" dirty="0"/>
              <a:t>luizassimoes@hotmail.com</a:t>
            </a:r>
          </a:p>
          <a:p>
            <a:pPr lvl="2"/>
            <a:endParaRPr lang="de-DE" dirty="0"/>
          </a:p>
          <a:p>
            <a:pPr lvl="3"/>
            <a:r>
              <a:rPr lang="de-DE" dirty="0"/>
              <a:t>Fraunhofer IPT</a:t>
            </a:r>
          </a:p>
          <a:p>
            <a:pPr lvl="3"/>
            <a:r>
              <a:rPr lang="de-DE" dirty="0"/>
              <a:t>Steinbachstraße 17</a:t>
            </a:r>
          </a:p>
          <a:p>
            <a:pPr lvl="3"/>
            <a:r>
              <a:rPr lang="de-DE" dirty="0"/>
              <a:t>52074 Aachen</a:t>
            </a:r>
          </a:p>
          <a:p>
            <a:pPr lvl="3"/>
            <a:r>
              <a:rPr lang="de-DE" dirty="0"/>
              <a:t>www.fraunhofer.de</a:t>
            </a:r>
          </a:p>
        </p:txBody>
      </p:sp>
      <p:pic>
        <p:nvPicPr>
          <p:cNvPr id="2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8293997-A745-D24C-73CD-1B53ED9F14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10220362" y="5560391"/>
            <a:ext cx="1207549" cy="843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02387427-A22B-B179-36CF-71CA65627A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563" y="5605950"/>
            <a:ext cx="694936" cy="694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31527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9200520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990469151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5359515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743164908"/>
      </p:ext>
    </p:extLst>
  </p:cSld>
  <p:clrMapOvr>
    <a:masterClrMapping/>
  </p:clrMapOvr>
  <p:transition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6555815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649601853"/>
      </p:ext>
    </p:extLst>
  </p:cSld>
  <p:clrMapOvr>
    <a:masterClrMapping/>
  </p:clrMapOvr>
  <p:transition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textualization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FF3CD05-5412-4A5D-98D6-F5796119A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Important</a:t>
            </a:r>
            <a:r>
              <a:rPr lang="de-DE" dirty="0"/>
              <a:t> </a:t>
            </a:r>
            <a:r>
              <a:rPr lang="de-DE" dirty="0" err="1"/>
              <a:t>concepts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22A1E06-5153-DB63-68C2-7606328B637D}"/>
              </a:ext>
            </a:extLst>
          </p:cNvPr>
          <p:cNvGrpSpPr/>
          <p:nvPr/>
        </p:nvGrpSpPr>
        <p:grpSpPr>
          <a:xfrm>
            <a:off x="477838" y="1700213"/>
            <a:ext cx="5438775" cy="1152000"/>
            <a:chOff x="477838" y="1700213"/>
            <a:chExt cx="5438775" cy="1152000"/>
          </a:xfrm>
        </p:grpSpPr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6C5727D8-6052-4A96-9453-DBA893210C2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1700213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4359171 w 4359171"/>
                <a:gd name="connsiteY1" fmla="*/ 0 h 1152000"/>
                <a:gd name="connsiteX2" fmla="*/ 4359171 w 4359171"/>
                <a:gd name="connsiteY2" fmla="*/ 1152000 h 1152000"/>
                <a:gd name="connsiteX3" fmla="*/ 0 w 4359171"/>
                <a:gd name="connsiteY3" fmla="*/ 1152000 h 1152000"/>
                <a:gd name="connsiteX4" fmla="*/ 321719 w 4359171"/>
                <a:gd name="connsiteY4" fmla="*/ 57600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4359171" y="0"/>
                  </a:lnTo>
                  <a:lnTo>
                    <a:pt x="4359171" y="1152000"/>
                  </a:lnTo>
                  <a:lnTo>
                    <a:pt x="0" y="1152000"/>
                  </a:lnTo>
                  <a:lnTo>
                    <a:pt x="321719" y="5760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1" name="Pfeil: Fünfeck 30">
              <a:extLst>
                <a:ext uri="{FF2B5EF4-FFF2-40B4-BE49-F238E27FC236}">
                  <a16:creationId xmlns:a16="http://schemas.microsoft.com/office/drawing/2014/main" id="{AEB2BD4F-9AA2-4E5C-B688-3E069022503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1700213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5" name="Google Shape;7762;p147">
              <a:extLst>
                <a:ext uri="{FF2B5EF4-FFF2-40B4-BE49-F238E27FC236}">
                  <a16:creationId xmlns:a16="http://schemas.microsoft.com/office/drawing/2014/main" id="{CA4DFA29-42B3-408A-A6FB-7EC9449AF6DF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1842962"/>
              <a:ext cx="942020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de-DE" altLang="en-US" sz="4400" dirty="0">
                  <a:solidFill>
                    <a:schemeClr val="bg1"/>
                  </a:solidFill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1</a:t>
              </a:r>
              <a:endParaRPr lang="de-DE" altLang="en-US" sz="1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Google Shape;7766;p147">
              <a:extLst>
                <a:ext uri="{FF2B5EF4-FFF2-40B4-BE49-F238E27FC236}">
                  <a16:creationId xmlns:a16="http://schemas.microsoft.com/office/drawing/2014/main" id="{19D14D75-3E04-4BD5-9005-2D39E4BAE03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1898417"/>
              <a:ext cx="3481370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 err="1">
                  <a:solidFill>
                    <a:schemeClr val="bg1"/>
                  </a:solidFill>
                  <a:latin typeface="+mj-lt"/>
                </a:rPr>
                <a:t>uRLLC</a:t>
              </a:r>
              <a:endParaRPr lang="de-DE" sz="1400" dirty="0">
                <a:solidFill>
                  <a:schemeClr val="bg1"/>
                </a:solidFill>
                <a:latin typeface="+mj-lt"/>
              </a:endParaRPr>
            </a:p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en-US" sz="1400" dirty="0">
                  <a:solidFill>
                    <a:schemeClr val="bg1"/>
                  </a:solidFill>
                  <a:latin typeface="+mn-lt"/>
                </a:rPr>
                <a:t>Ultra-Reliable Low Latency Communications</a:t>
              </a:r>
              <a:endParaRPr lang="de-DE" sz="1400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E060ADA-128A-E43E-C811-31EA5996A706}"/>
              </a:ext>
            </a:extLst>
          </p:cNvPr>
          <p:cNvGrpSpPr/>
          <p:nvPr/>
        </p:nvGrpSpPr>
        <p:grpSpPr>
          <a:xfrm>
            <a:off x="477838" y="3077128"/>
            <a:ext cx="5438775" cy="1152000"/>
            <a:chOff x="477838" y="3077128"/>
            <a:chExt cx="5438775" cy="1152000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31680B2-1A8D-45CD-9029-CC3E9296982B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3077128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4359171 w 4359171"/>
                <a:gd name="connsiteY1" fmla="*/ 0 h 1152000"/>
                <a:gd name="connsiteX2" fmla="*/ 4359171 w 4359171"/>
                <a:gd name="connsiteY2" fmla="*/ 1152000 h 1152000"/>
                <a:gd name="connsiteX3" fmla="*/ 0 w 4359171"/>
                <a:gd name="connsiteY3" fmla="*/ 1152000 h 1152000"/>
                <a:gd name="connsiteX4" fmla="*/ 321719 w 4359171"/>
                <a:gd name="connsiteY4" fmla="*/ 57600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4359171" y="0"/>
                  </a:lnTo>
                  <a:lnTo>
                    <a:pt x="4359171" y="1152000"/>
                  </a:lnTo>
                  <a:lnTo>
                    <a:pt x="0" y="1152000"/>
                  </a:lnTo>
                  <a:lnTo>
                    <a:pt x="321719" y="57600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2" name="Pfeil: Fünfeck 31">
              <a:extLst>
                <a:ext uri="{FF2B5EF4-FFF2-40B4-BE49-F238E27FC236}">
                  <a16:creationId xmlns:a16="http://schemas.microsoft.com/office/drawing/2014/main" id="{859E34C5-E308-487F-90FE-2D60FD9A232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3077128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7" name="Google Shape;7762;p147">
              <a:extLst>
                <a:ext uri="{FF2B5EF4-FFF2-40B4-BE49-F238E27FC236}">
                  <a16:creationId xmlns:a16="http://schemas.microsoft.com/office/drawing/2014/main" id="{A0283007-8CDC-4A13-AFC5-6A3D5014143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3219877"/>
              <a:ext cx="942020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de-DE" altLang="en-US" sz="4400" dirty="0">
                  <a:solidFill>
                    <a:schemeClr val="bg1"/>
                  </a:solidFill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2</a:t>
              </a:r>
              <a:endParaRPr lang="de-DE" altLang="en-US" sz="1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Google Shape;7766;p147">
              <a:extLst>
                <a:ext uri="{FF2B5EF4-FFF2-40B4-BE49-F238E27FC236}">
                  <a16:creationId xmlns:a16="http://schemas.microsoft.com/office/drawing/2014/main" id="{E0B75D2F-9015-4ABF-A405-1448E661C3C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3275333"/>
              <a:ext cx="3481370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 err="1">
                  <a:solidFill>
                    <a:schemeClr val="bg1"/>
                  </a:solidFill>
                  <a:latin typeface="+mj-lt"/>
                </a:rPr>
                <a:t>eMBB</a:t>
              </a:r>
              <a:endParaRPr lang="de-DE" sz="1400" dirty="0">
                <a:solidFill>
                  <a:schemeClr val="bg1"/>
                </a:solidFill>
                <a:latin typeface="+mj-lt"/>
              </a:endParaRPr>
            </a:p>
            <a:p>
              <a:pPr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>
                  <a:solidFill>
                    <a:schemeClr val="bg1"/>
                  </a:solidFill>
                  <a:latin typeface="+mn-lt"/>
                </a:rPr>
                <a:t>Enhanced Mobile Broadband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8A3BC53-AE68-0107-EFBC-C7870AC18B3E}"/>
              </a:ext>
            </a:extLst>
          </p:cNvPr>
          <p:cNvGrpSpPr/>
          <p:nvPr/>
        </p:nvGrpSpPr>
        <p:grpSpPr>
          <a:xfrm>
            <a:off x="477838" y="4454043"/>
            <a:ext cx="5438775" cy="1152000"/>
            <a:chOff x="477838" y="4454043"/>
            <a:chExt cx="5438775" cy="1152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7BB3F480-1832-4534-A1B9-2770EB49D47E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4454043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4359171 w 4359171"/>
                <a:gd name="connsiteY1" fmla="*/ 0 h 1152000"/>
                <a:gd name="connsiteX2" fmla="*/ 4359171 w 4359171"/>
                <a:gd name="connsiteY2" fmla="*/ 1152000 h 1152000"/>
                <a:gd name="connsiteX3" fmla="*/ 0 w 4359171"/>
                <a:gd name="connsiteY3" fmla="*/ 1152000 h 1152000"/>
                <a:gd name="connsiteX4" fmla="*/ 321719 w 4359171"/>
                <a:gd name="connsiteY4" fmla="*/ 57600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4359171" y="0"/>
                  </a:lnTo>
                  <a:lnTo>
                    <a:pt x="4359171" y="1152000"/>
                  </a:lnTo>
                  <a:lnTo>
                    <a:pt x="0" y="1152000"/>
                  </a:lnTo>
                  <a:lnTo>
                    <a:pt x="321719" y="57600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3" name="Pfeil: Fünfeck 32">
              <a:extLst>
                <a:ext uri="{FF2B5EF4-FFF2-40B4-BE49-F238E27FC236}">
                  <a16:creationId xmlns:a16="http://schemas.microsoft.com/office/drawing/2014/main" id="{82F9C88F-EDA6-4BA0-9AAB-CE798C415D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4454043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8" name="Google Shape;7762;p147">
              <a:extLst>
                <a:ext uri="{FF2B5EF4-FFF2-40B4-BE49-F238E27FC236}">
                  <a16:creationId xmlns:a16="http://schemas.microsoft.com/office/drawing/2014/main" id="{38E06E1D-2F95-4E09-8BA7-EDADACD0D90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4596792"/>
              <a:ext cx="942020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de-DE" altLang="en-US" sz="4400" dirty="0">
                  <a:solidFill>
                    <a:schemeClr val="bg1"/>
                  </a:solidFill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3</a:t>
              </a:r>
              <a:endParaRPr lang="de-DE" altLang="en-US" sz="1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Google Shape;7766;p147">
              <a:extLst>
                <a:ext uri="{FF2B5EF4-FFF2-40B4-BE49-F238E27FC236}">
                  <a16:creationId xmlns:a16="http://schemas.microsoft.com/office/drawing/2014/main" id="{087C2760-BDE2-4679-844D-A8A729AE13AE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4652247"/>
              <a:ext cx="3481370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 err="1">
                  <a:solidFill>
                    <a:schemeClr val="bg1"/>
                  </a:solidFill>
                  <a:latin typeface="+mj-lt"/>
                </a:rPr>
                <a:t>mMTC</a:t>
              </a:r>
              <a:endParaRPr lang="de-DE" sz="1400" dirty="0">
                <a:solidFill>
                  <a:schemeClr val="bg1"/>
                </a:solidFill>
                <a:latin typeface="+mj-lt"/>
              </a:endParaRPr>
            </a:p>
            <a:p>
              <a:pPr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>
                  <a:solidFill>
                    <a:schemeClr val="bg1"/>
                  </a:solidFill>
                  <a:latin typeface="+mn-lt"/>
                </a:rPr>
                <a:t>Massive </a:t>
              </a:r>
              <a:r>
                <a:rPr lang="de-DE" sz="1400" dirty="0" err="1">
                  <a:solidFill>
                    <a:schemeClr val="bg1"/>
                  </a:solidFill>
                  <a:latin typeface="+mn-lt"/>
                </a:rPr>
                <a:t>Machine</a:t>
              </a:r>
              <a:r>
                <a:rPr lang="de-DE" sz="1400" dirty="0">
                  <a:solidFill>
                    <a:schemeClr val="bg1"/>
                  </a:solidFill>
                  <a:latin typeface="+mn-lt"/>
                </a:rPr>
                <a:t> Type Communications</a:t>
              </a:r>
            </a:p>
          </p:txBody>
        </p:sp>
      </p:grpSp>
      <p:pic>
        <p:nvPicPr>
          <p:cNvPr id="13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947AD8C-B92F-71CD-B2D6-98834B5A2D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2A0E8450-9A85-50DB-3434-AFFA83C3DD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ußzeilenplatzhalter 3">
            <a:extLst>
              <a:ext uri="{FF2B5EF4-FFF2-40B4-BE49-F238E27FC236}">
                <a16:creationId xmlns:a16="http://schemas.microsoft.com/office/drawing/2014/main" id="{854D5650-FFA8-8F1A-2D1B-8A97D919E66F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17" name="Datumsplatzhalter 2">
            <a:extLst>
              <a:ext uri="{FF2B5EF4-FFF2-40B4-BE49-F238E27FC236}">
                <a16:creationId xmlns:a16="http://schemas.microsoft.com/office/drawing/2014/main" id="{C4B27C07-5C61-2BBA-B88C-FE736E46727F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BAD1E58-797C-1AD1-CBE3-9FCD08C02320}"/>
              </a:ext>
            </a:extLst>
          </p:cNvPr>
          <p:cNvGrpSpPr/>
          <p:nvPr/>
        </p:nvGrpSpPr>
        <p:grpSpPr>
          <a:xfrm>
            <a:off x="6422036" y="1895762"/>
            <a:ext cx="5246412" cy="3619798"/>
            <a:chOff x="6422036" y="1895762"/>
            <a:chExt cx="5246412" cy="3619798"/>
          </a:xfrm>
        </p:grpSpPr>
        <p:pic>
          <p:nvPicPr>
            <p:cNvPr id="12" name="Picture 11" descr="A picture containing text, screenshot, diagram, font&#10;&#10;Description automatically generated">
              <a:extLst>
                <a:ext uri="{FF2B5EF4-FFF2-40B4-BE49-F238E27FC236}">
                  <a16:creationId xmlns:a16="http://schemas.microsoft.com/office/drawing/2014/main" id="{3E591369-D97A-FDB7-6A92-35062D45E8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939"/>
            <a:stretch/>
          </p:blipFill>
          <p:spPr>
            <a:xfrm>
              <a:off x="6422036" y="1895762"/>
              <a:ext cx="5246412" cy="3134280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F808243-6BE6-3D7E-CA7A-619DBD6F4990}"/>
                </a:ext>
              </a:extLst>
            </p:cNvPr>
            <p:cNvSpPr txBox="1"/>
            <p:nvPr/>
          </p:nvSpPr>
          <p:spPr>
            <a:xfrm>
              <a:off x="6808669" y="5146228"/>
              <a:ext cx="4473145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5G features and its applications [Image]. In: 3GPP. Available at: https://fuenf-g.de/2019/09/26/die-schrittmacher-von-5g/##. Accessed on June 22, 2023.</a:t>
              </a:r>
              <a:endParaRPr lang="de-DE" sz="9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771710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textualiza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Use Cases</a:t>
            </a:r>
            <a:endParaRPr lang="en-US" dirty="0"/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447D4E7-6442-1BB6-743C-65D12A327234}"/>
              </a:ext>
            </a:extLst>
          </p:cNvPr>
          <p:cNvGrpSpPr/>
          <p:nvPr/>
        </p:nvGrpSpPr>
        <p:grpSpPr>
          <a:xfrm>
            <a:off x="1402769" y="1661266"/>
            <a:ext cx="10246404" cy="4238324"/>
            <a:chOff x="1402769" y="1661266"/>
            <a:chExt cx="10246404" cy="4238324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29A8CBB-6FE0-4987-4F56-DD34ECF684A2}"/>
                </a:ext>
              </a:extLst>
            </p:cNvPr>
            <p:cNvGrpSpPr/>
            <p:nvPr/>
          </p:nvGrpSpPr>
          <p:grpSpPr>
            <a:xfrm>
              <a:off x="1402769" y="1661266"/>
              <a:ext cx="9386461" cy="3985263"/>
              <a:chOff x="1402769" y="1661266"/>
              <a:chExt cx="9386461" cy="3985263"/>
            </a:xfrm>
          </p:grpSpPr>
          <p:sp>
            <p:nvSpPr>
              <p:cNvPr id="11" name="Eingekerbter Richtungspfeil 15">
                <a:extLst>
                  <a:ext uri="{FF2B5EF4-FFF2-40B4-BE49-F238E27FC236}">
                    <a16:creationId xmlns:a16="http://schemas.microsoft.com/office/drawing/2014/main" id="{64CF0349-2CF2-4543-B081-3FD4396A0D1F}"/>
                  </a:ext>
                </a:extLst>
              </p:cNvPr>
              <p:cNvSpPr/>
              <p:nvPr/>
            </p:nvSpPr>
            <p:spPr bwMode="gray">
              <a:xfrm flipH="1">
                <a:off x="2173947" y="3184269"/>
                <a:ext cx="7214348" cy="1613677"/>
              </a:xfrm>
              <a:prstGeom prst="chevron">
                <a:avLst>
                  <a:gd name="adj" fmla="val 22932"/>
                </a:avLst>
              </a:prstGeom>
              <a:solidFill>
                <a:schemeClr val="accent3"/>
              </a:solidFill>
              <a:ln>
                <a:noFill/>
              </a:ln>
              <a:effectLst/>
            </p:spPr>
            <p:txBody>
              <a:bodyPr vert="horz" wrap="square" lIns="432000" tIns="144000" rIns="0" bIns="0" numCol="2" rtlCol="0" anchor="b" anchorCtr="0" compatLnSpc="1">
                <a:prstTxWarp prst="textNoShape">
                  <a:avLst/>
                </a:prstTxWarp>
                <a:normAutofit/>
              </a:bodyPr>
              <a:lstStyle/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Collect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information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Basis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for</a:t>
                </a: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decision-making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Improv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efficiency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Higher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productivity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and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sustainability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Safer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work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envirenments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Accident</a:t>
                </a: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prevention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Reduc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unplanned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maintainanc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Progress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monitoring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</p:txBody>
          </p:sp>
          <p:cxnSp>
            <p:nvCxnSpPr>
              <p:cNvPr id="15" name="Elbow Connector 5">
                <a:extLst>
                  <a:ext uri="{FF2B5EF4-FFF2-40B4-BE49-F238E27FC236}">
                    <a16:creationId xmlns:a16="http://schemas.microsoft.com/office/drawing/2014/main" id="{472DAF35-D4FC-45DB-A428-234AEF51AA6B}"/>
                  </a:ext>
                </a:extLst>
              </p:cNvPr>
              <p:cNvCxnSpPr/>
              <p:nvPr/>
            </p:nvCxnSpPr>
            <p:spPr bwMode="gray">
              <a:xfrm flipH="1">
                <a:off x="9862709" y="2526049"/>
                <a:ext cx="340742" cy="1731022"/>
              </a:xfrm>
              <a:prstGeom prst="bentConnector3">
                <a:avLst>
                  <a:gd name="adj1" fmla="val -66385"/>
                </a:avLst>
              </a:prstGeom>
              <a:solidFill>
                <a:schemeClr val="tx2"/>
              </a:solidFill>
              <a:ln w="12700" cap="flat" cmpd="sng" algn="ctr">
                <a:solidFill>
                  <a:schemeClr val="accent2"/>
                </a:solidFill>
                <a:prstDash val="solid"/>
                <a:round/>
                <a:headEnd type="none" w="lg" len="lg"/>
                <a:tailEnd type="triangle" w="lg" len="lg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6" name="Eingekerbter Richtungspfeil 36">
                <a:extLst>
                  <a:ext uri="{FF2B5EF4-FFF2-40B4-BE49-F238E27FC236}">
                    <a16:creationId xmlns:a16="http://schemas.microsoft.com/office/drawing/2014/main" id="{F147AA27-0FFE-49AE-A9B3-EBD92B782020}"/>
                  </a:ext>
                </a:extLst>
              </p:cNvPr>
              <p:cNvSpPr/>
              <p:nvPr/>
            </p:nvSpPr>
            <p:spPr bwMode="gray">
              <a:xfrm>
                <a:off x="2470115" y="166904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2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Real-time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condition</a:t>
                </a: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monitoring</a:t>
                </a:r>
                <a:endParaRPr lang="de-DE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" name="Eingekerbter Richtungspfeil 36">
                <a:extLst>
                  <a:ext uri="{FF2B5EF4-FFF2-40B4-BE49-F238E27FC236}">
                    <a16:creationId xmlns:a16="http://schemas.microsoft.com/office/drawing/2014/main" id="{89917CC9-3FE5-43C7-988E-FDEE001640FB}"/>
                  </a:ext>
                </a:extLst>
              </p:cNvPr>
              <p:cNvSpPr/>
              <p:nvPr/>
            </p:nvSpPr>
            <p:spPr bwMode="gray">
              <a:xfrm>
                <a:off x="4887063" y="166126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4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10000"/>
                  </a:lnSpc>
                  <a:spcBef>
                    <a:spcPct val="0"/>
                  </a:spcBef>
                  <a:buClrTx/>
                  <a:buSzTx/>
                  <a:buFontTx/>
                  <a:buNone/>
                  <a:tabLst/>
                </a:pPr>
                <a:r>
                  <a:rPr kumimoji="0" lang="en-US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Health and safety at worksites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</p:txBody>
          </p:sp>
          <p:sp>
            <p:nvSpPr>
              <p:cNvPr id="18" name="Eingekerbter Richtungspfeil 36">
                <a:extLst>
                  <a:ext uri="{FF2B5EF4-FFF2-40B4-BE49-F238E27FC236}">
                    <a16:creationId xmlns:a16="http://schemas.microsoft.com/office/drawing/2014/main" id="{45239726-BA25-4DEA-B5F9-CF6342E13234}"/>
                  </a:ext>
                </a:extLst>
              </p:cNvPr>
              <p:cNvSpPr/>
              <p:nvPr/>
            </p:nvSpPr>
            <p:spPr bwMode="gray">
              <a:xfrm>
                <a:off x="7304011" y="166126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5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Autonomous</a:t>
                </a: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machinery</a:t>
                </a:r>
                <a:endParaRPr lang="de-DE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E57ABD2-2F04-0342-2AC3-B8DA8D67B33C}"/>
                  </a:ext>
                </a:extLst>
              </p:cNvPr>
              <p:cNvSpPr txBox="1"/>
              <p:nvPr/>
            </p:nvSpPr>
            <p:spPr>
              <a:xfrm>
                <a:off x="1402769" y="5184864"/>
                <a:ext cx="9386461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just"/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“In 1995–2005, up to 90% of fatal mining accidents were equipment related, while maintenance is responsible for 41% of a mine’s equipment costs. […] Studies say 70% of machine-specific malfunctions could be prevented by collecting and analyzing the machine's data.”</a:t>
                </a:r>
                <a:endParaRPr lang="de-DE" sz="12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DE155B4-55EC-7561-DAA3-8C8EF426408A}"/>
                </a:ext>
              </a:extLst>
            </p:cNvPr>
            <p:cNvSpPr txBox="1"/>
            <p:nvPr/>
          </p:nvSpPr>
          <p:spPr>
            <a:xfrm>
              <a:off x="2607916" y="5653369"/>
              <a:ext cx="9041257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000" b="0" i="0" dirty="0"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latin typeface="Arial" panose="020B0604020202020204" pitchFamily="34" charset="0"/>
                </a:rPr>
                <a:t>- ERICSSON. Connected Mining: A Guide to smart mining transformation with private cellular technology. 2020</a:t>
              </a:r>
              <a:endParaRPr lang="de-DE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067443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0977124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39724272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Use Cases</a:t>
            </a:r>
            <a:endParaRPr lang="en-US" dirty="0"/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F9B9895-7995-4701-B7D7-4BC6440ECA04}"/>
              </a:ext>
            </a:extLst>
          </p:cNvPr>
          <p:cNvGrpSpPr/>
          <p:nvPr/>
        </p:nvGrpSpPr>
        <p:grpSpPr>
          <a:xfrm>
            <a:off x="1402769" y="1661266"/>
            <a:ext cx="10246404" cy="4238324"/>
            <a:chOff x="1402769" y="1661266"/>
            <a:chExt cx="10246404" cy="4238324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29A8CBB-6FE0-4987-4F56-DD34ECF684A2}"/>
                </a:ext>
              </a:extLst>
            </p:cNvPr>
            <p:cNvGrpSpPr/>
            <p:nvPr/>
          </p:nvGrpSpPr>
          <p:grpSpPr>
            <a:xfrm>
              <a:off x="1402769" y="1661266"/>
              <a:ext cx="9386461" cy="3985263"/>
              <a:chOff x="1402769" y="1661266"/>
              <a:chExt cx="9386461" cy="3985263"/>
            </a:xfrm>
          </p:grpSpPr>
          <p:sp>
            <p:nvSpPr>
              <p:cNvPr id="11" name="Eingekerbter Richtungspfeil 15">
                <a:extLst>
                  <a:ext uri="{FF2B5EF4-FFF2-40B4-BE49-F238E27FC236}">
                    <a16:creationId xmlns:a16="http://schemas.microsoft.com/office/drawing/2014/main" id="{64CF0349-2CF2-4543-B081-3FD4396A0D1F}"/>
                  </a:ext>
                </a:extLst>
              </p:cNvPr>
              <p:cNvSpPr/>
              <p:nvPr/>
            </p:nvSpPr>
            <p:spPr bwMode="gray">
              <a:xfrm flipH="1">
                <a:off x="2173947" y="3184269"/>
                <a:ext cx="7214348" cy="1613677"/>
              </a:xfrm>
              <a:prstGeom prst="chevron">
                <a:avLst>
                  <a:gd name="adj" fmla="val 22932"/>
                </a:avLst>
              </a:prstGeom>
              <a:solidFill>
                <a:schemeClr val="accent3"/>
              </a:solidFill>
              <a:ln>
                <a:noFill/>
              </a:ln>
              <a:effectLst/>
            </p:spPr>
            <p:txBody>
              <a:bodyPr vert="horz" wrap="square" lIns="432000" tIns="144000" rIns="0" bIns="0" numCol="2" rtlCol="0" anchor="b" anchorCtr="0" compatLnSpc="1">
                <a:prstTxWarp prst="textNoShape">
                  <a:avLst/>
                </a:prstTxWarp>
                <a:normAutofit/>
              </a:bodyPr>
              <a:lstStyle/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Collect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information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Basis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for</a:t>
                </a: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decision-making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Improv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efficiency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Higher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productivity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and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sustainability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Safer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work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envirenments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Accident</a:t>
                </a: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prevention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Reduc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unplanned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maintainanc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Progress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monitoring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</p:txBody>
          </p:sp>
          <p:grpSp>
            <p:nvGrpSpPr>
              <p:cNvPr id="13" name="Group 1">
                <a:extLst>
                  <a:ext uri="{FF2B5EF4-FFF2-40B4-BE49-F238E27FC236}">
                    <a16:creationId xmlns:a16="http://schemas.microsoft.com/office/drawing/2014/main" id="{A17B7281-5125-46BA-A6FF-964EEF58B3CE}"/>
                  </a:ext>
                </a:extLst>
              </p:cNvPr>
              <p:cNvGrpSpPr/>
              <p:nvPr/>
            </p:nvGrpSpPr>
            <p:grpSpPr bwMode="gray">
              <a:xfrm>
                <a:off x="1861942" y="2526050"/>
                <a:ext cx="8341515" cy="1731024"/>
                <a:chOff x="1884382" y="3135788"/>
                <a:chExt cx="8430007" cy="1000426"/>
              </a:xfrm>
            </p:grpSpPr>
            <p:cxnSp>
              <p:nvCxnSpPr>
                <p:cNvPr id="14" name="Elbow Connector 3">
                  <a:extLst>
                    <a:ext uri="{FF2B5EF4-FFF2-40B4-BE49-F238E27FC236}">
                      <a16:creationId xmlns:a16="http://schemas.microsoft.com/office/drawing/2014/main" id="{876DD779-82F0-495D-ABCB-950D818D1F1B}"/>
                    </a:ext>
                  </a:extLst>
                </p:cNvPr>
                <p:cNvCxnSpPr/>
                <p:nvPr/>
              </p:nvCxnSpPr>
              <p:spPr bwMode="gray">
                <a:xfrm rot="10800000" flipH="1">
                  <a:off x="1884382" y="3135789"/>
                  <a:ext cx="343516" cy="1000425"/>
                </a:xfrm>
                <a:prstGeom prst="bentConnector3">
                  <a:avLst>
                    <a:gd name="adj1" fmla="val -66547"/>
                  </a:avLst>
                </a:prstGeom>
                <a:solidFill>
                  <a:schemeClr val="tx2"/>
                </a:solidFill>
                <a:ln w="12700" cap="flat" cmpd="sng" algn="ctr">
                  <a:solidFill>
                    <a:schemeClr val="accent2"/>
                  </a:solidFill>
                  <a:prstDash val="solid"/>
                  <a:round/>
                  <a:headEnd type="none" w="lg" len="lg"/>
                  <a:tailEnd type="triangle" w="lg" len="lg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" name="Elbow Connector 5">
                  <a:extLst>
                    <a:ext uri="{FF2B5EF4-FFF2-40B4-BE49-F238E27FC236}">
                      <a16:creationId xmlns:a16="http://schemas.microsoft.com/office/drawing/2014/main" id="{472DAF35-D4FC-45DB-A428-234AEF51AA6B}"/>
                    </a:ext>
                  </a:extLst>
                </p:cNvPr>
                <p:cNvCxnSpPr/>
                <p:nvPr/>
              </p:nvCxnSpPr>
              <p:spPr bwMode="gray">
                <a:xfrm flipH="1">
                  <a:off x="9970032" y="3135788"/>
                  <a:ext cx="344357" cy="1000425"/>
                </a:xfrm>
                <a:prstGeom prst="bentConnector3">
                  <a:avLst>
                    <a:gd name="adj1" fmla="val -66385"/>
                  </a:avLst>
                </a:prstGeom>
                <a:solidFill>
                  <a:schemeClr val="tx2"/>
                </a:solidFill>
                <a:ln w="12700" cap="flat" cmpd="sng" algn="ctr">
                  <a:solidFill>
                    <a:schemeClr val="accent2"/>
                  </a:solidFill>
                  <a:prstDash val="solid"/>
                  <a:round/>
                  <a:headEnd type="none" w="lg" len="lg"/>
                  <a:tailEnd type="triangle" w="lg" len="lg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16" name="Eingekerbter Richtungspfeil 36">
                <a:extLst>
                  <a:ext uri="{FF2B5EF4-FFF2-40B4-BE49-F238E27FC236}">
                    <a16:creationId xmlns:a16="http://schemas.microsoft.com/office/drawing/2014/main" id="{F147AA27-0FFE-49AE-A9B3-EBD92B782020}"/>
                  </a:ext>
                </a:extLst>
              </p:cNvPr>
              <p:cNvSpPr/>
              <p:nvPr/>
            </p:nvSpPr>
            <p:spPr bwMode="gray">
              <a:xfrm>
                <a:off x="2470115" y="166904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2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Real-time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condition</a:t>
                </a: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monitoring</a:t>
                </a:r>
                <a:endParaRPr lang="de-DE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" name="Eingekerbter Richtungspfeil 36">
                <a:extLst>
                  <a:ext uri="{FF2B5EF4-FFF2-40B4-BE49-F238E27FC236}">
                    <a16:creationId xmlns:a16="http://schemas.microsoft.com/office/drawing/2014/main" id="{89917CC9-3FE5-43C7-988E-FDEE001640FB}"/>
                  </a:ext>
                </a:extLst>
              </p:cNvPr>
              <p:cNvSpPr/>
              <p:nvPr/>
            </p:nvSpPr>
            <p:spPr bwMode="gray">
              <a:xfrm>
                <a:off x="4887063" y="166126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4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10000"/>
                  </a:lnSpc>
                  <a:spcBef>
                    <a:spcPct val="0"/>
                  </a:spcBef>
                  <a:buClrTx/>
                  <a:buSzTx/>
                  <a:buFontTx/>
                  <a:buNone/>
                  <a:tabLst/>
                </a:pPr>
                <a:r>
                  <a:rPr kumimoji="0" lang="en-US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Health and safety at worksites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</p:txBody>
          </p:sp>
          <p:sp>
            <p:nvSpPr>
              <p:cNvPr id="18" name="Eingekerbter Richtungspfeil 36">
                <a:extLst>
                  <a:ext uri="{FF2B5EF4-FFF2-40B4-BE49-F238E27FC236}">
                    <a16:creationId xmlns:a16="http://schemas.microsoft.com/office/drawing/2014/main" id="{45239726-BA25-4DEA-B5F9-CF6342E13234}"/>
                  </a:ext>
                </a:extLst>
              </p:cNvPr>
              <p:cNvSpPr/>
              <p:nvPr/>
            </p:nvSpPr>
            <p:spPr bwMode="gray">
              <a:xfrm>
                <a:off x="7304011" y="166126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5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Autonomous</a:t>
                </a: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machinery</a:t>
                </a:r>
                <a:endParaRPr lang="de-DE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E57ABD2-2F04-0342-2AC3-B8DA8D67B33C}"/>
                  </a:ext>
                </a:extLst>
              </p:cNvPr>
              <p:cNvSpPr txBox="1"/>
              <p:nvPr/>
            </p:nvSpPr>
            <p:spPr>
              <a:xfrm>
                <a:off x="1402769" y="5184864"/>
                <a:ext cx="9386461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just"/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“In 1995–2005, up to 90% of fatal mining accidents were equipment related, while maintenance is responsible for 41% of a mine’s equipment costs. […] Studies say 70% of machine-specific malfunctions could be prevented by collecting and analyzing the machine's data.”</a:t>
                </a:r>
                <a:endParaRPr lang="de-DE" sz="12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DE155B4-55EC-7561-DAA3-8C8EF426408A}"/>
                </a:ext>
              </a:extLst>
            </p:cNvPr>
            <p:cNvSpPr txBox="1"/>
            <p:nvPr/>
          </p:nvSpPr>
          <p:spPr>
            <a:xfrm>
              <a:off x="2607916" y="5653369"/>
              <a:ext cx="9041257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000" b="0" i="0" dirty="0"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latin typeface="Arial" panose="020B0604020202020204" pitchFamily="34" charset="0"/>
                </a:rPr>
                <a:t>- ERICSSON. Connected Mining: A Guide to smart mining transformation with private cellular technology. 2020</a:t>
              </a:r>
              <a:endParaRPr lang="de-DE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853052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9679536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8264912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30531_Fraunhofer_IPT_Master-16-9_Vorlage.pptx" id="{55ABF1B0-63C9-45CC-8F93-16CFF2B53B6B}" vid="{9243FDA3-76D7-4C91-B906-3214CD4028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30</Words>
  <Application>Microsoft Office PowerPoint</Application>
  <PresentationFormat>Widescreen</PresentationFormat>
  <Paragraphs>155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Calibri</vt:lpstr>
      <vt:lpstr>Frutiger LT Com 45 Light</vt:lpstr>
      <vt:lpstr>Frutiger LT Com 65 Bold</vt:lpstr>
      <vt:lpstr>Frutiger LT Com 75 Black</vt:lpstr>
      <vt:lpstr>Open Sans Semibold</vt:lpstr>
      <vt:lpstr>Wingdings</vt:lpstr>
      <vt:lpstr>Fraunhofer_Master_16-9</vt:lpstr>
      <vt:lpstr>think-cell Folie</vt:lpstr>
      <vt:lpstr>PowerPoint Presentation</vt:lpstr>
      <vt:lpstr>Table of Contents</vt:lpstr>
      <vt:lpstr>Table of Contents</vt:lpstr>
      <vt:lpstr>Table of Contents</vt:lpstr>
      <vt:lpstr>Contextualization</vt:lpstr>
      <vt:lpstr>Contextualization</vt:lpstr>
      <vt:lpstr>Table of Contents</vt:lpstr>
      <vt:lpstr>Measurements</vt:lpstr>
      <vt:lpstr>Table of Content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uza Simoes, Luiza</dc:creator>
  <cp:lastModifiedBy>Souza Simoes, Luiza</cp:lastModifiedBy>
  <cp:revision>6</cp:revision>
  <dcterms:created xsi:type="dcterms:W3CDTF">2023-06-21T08:08:28Z</dcterms:created>
  <dcterms:modified xsi:type="dcterms:W3CDTF">2023-06-22T15:01:20Z</dcterms:modified>
</cp:coreProperties>
</file>